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17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3B8338-0405-4D78-8F37-4D6D5AAEB65C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203FCB-BD99-436C-B2D6-95F61030579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86744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20720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001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1013764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4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22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36841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554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890421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29.xml"/><Relationship Id="rId21" Type="http://schemas.openxmlformats.org/officeDocument/2006/relationships/tags" Target="../tags/tag24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63" Type="http://schemas.openxmlformats.org/officeDocument/2006/relationships/tags" Target="../tags/tag66.xml"/><Relationship Id="rId68" Type="http://schemas.openxmlformats.org/officeDocument/2006/relationships/tags" Target="../tags/tag71.xml"/><Relationship Id="rId16" Type="http://schemas.openxmlformats.org/officeDocument/2006/relationships/tags" Target="../tags/tag1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tags" Target="../tags/tag56.xml"/><Relationship Id="rId58" Type="http://schemas.openxmlformats.org/officeDocument/2006/relationships/tags" Target="../tags/tag61.xml"/><Relationship Id="rId66" Type="http://schemas.openxmlformats.org/officeDocument/2006/relationships/tags" Target="../tags/tag69.xml"/><Relationship Id="rId74" Type="http://schemas.openxmlformats.org/officeDocument/2006/relationships/tags" Target="../tags/tag77.xml"/><Relationship Id="rId79" Type="http://schemas.openxmlformats.org/officeDocument/2006/relationships/image" Target="../media/image4.emf"/><Relationship Id="rId5" Type="http://schemas.openxmlformats.org/officeDocument/2006/relationships/tags" Target="../tags/tag8.xml"/><Relationship Id="rId61" Type="http://schemas.openxmlformats.org/officeDocument/2006/relationships/tags" Target="../tags/tag64.xml"/><Relationship Id="rId19" Type="http://schemas.openxmlformats.org/officeDocument/2006/relationships/tags" Target="../tags/tag2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56" Type="http://schemas.openxmlformats.org/officeDocument/2006/relationships/tags" Target="../tags/tag59.xml"/><Relationship Id="rId64" Type="http://schemas.openxmlformats.org/officeDocument/2006/relationships/tags" Target="../tags/tag67.xml"/><Relationship Id="rId69" Type="http://schemas.openxmlformats.org/officeDocument/2006/relationships/tags" Target="../tags/tag72.xml"/><Relationship Id="rId77" Type="http://schemas.openxmlformats.org/officeDocument/2006/relationships/notesSlide" Target="../notesSlides/notesSlide1.xml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72" Type="http://schemas.openxmlformats.org/officeDocument/2006/relationships/tags" Target="../tags/tag75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59" Type="http://schemas.openxmlformats.org/officeDocument/2006/relationships/tags" Target="../tags/tag62.xml"/><Relationship Id="rId67" Type="http://schemas.openxmlformats.org/officeDocument/2006/relationships/tags" Target="../tags/tag70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tags" Target="../tags/tag57.xml"/><Relationship Id="rId62" Type="http://schemas.openxmlformats.org/officeDocument/2006/relationships/tags" Target="../tags/tag65.xml"/><Relationship Id="rId70" Type="http://schemas.openxmlformats.org/officeDocument/2006/relationships/tags" Target="../tags/tag73.xml"/><Relationship Id="rId75" Type="http://schemas.openxmlformats.org/officeDocument/2006/relationships/tags" Target="../tags/tag78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tags" Target="../tags/tag60.xml"/><Relationship Id="rId10" Type="http://schemas.openxmlformats.org/officeDocument/2006/relationships/tags" Target="../tags/tag13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Relationship Id="rId60" Type="http://schemas.openxmlformats.org/officeDocument/2006/relationships/tags" Target="../tags/tag63.xml"/><Relationship Id="rId65" Type="http://schemas.openxmlformats.org/officeDocument/2006/relationships/tags" Target="../tags/tag68.xml"/><Relationship Id="rId73" Type="http://schemas.openxmlformats.org/officeDocument/2006/relationships/tags" Target="../tags/tag76.xml"/><Relationship Id="rId78" Type="http://schemas.openxmlformats.org/officeDocument/2006/relationships/oleObject" Target="../embeddings/oleObject5.bin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9" Type="http://schemas.openxmlformats.org/officeDocument/2006/relationships/tags" Target="../tags/tag42.xml"/><Relationship Id="rId34" Type="http://schemas.openxmlformats.org/officeDocument/2006/relationships/tags" Target="../tags/tag37.xml"/><Relationship Id="rId50" Type="http://schemas.openxmlformats.org/officeDocument/2006/relationships/tags" Target="../tags/tag53.xml"/><Relationship Id="rId55" Type="http://schemas.openxmlformats.org/officeDocument/2006/relationships/tags" Target="../tags/tag58.xml"/><Relationship Id="rId76" Type="http://schemas.openxmlformats.org/officeDocument/2006/relationships/slideLayout" Target="../slideLayouts/slideLayout5.xml"/><Relationship Id="rId7" Type="http://schemas.openxmlformats.org/officeDocument/2006/relationships/tags" Target="../tags/tag10.xml"/><Relationship Id="rId71" Type="http://schemas.openxmlformats.org/officeDocument/2006/relationships/tags" Target="../tags/tag74.xml"/><Relationship Id="rId2" Type="http://schemas.openxmlformats.org/officeDocument/2006/relationships/tags" Target="../tags/tag5.xml"/><Relationship Id="rId29" Type="http://schemas.openxmlformats.org/officeDocument/2006/relationships/tags" Target="../tags/tag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78" imgW="349" imgH="350" progId="TCLayout.ActiveDocument.1">
                  <p:embed/>
                </p:oleObj>
              </mc:Choice>
              <mc:Fallback>
                <p:oleObj name="think-cell 幻灯片" r:id="rId78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sp>
        <p:nvSpPr>
          <p:cNvPr id="3" name="Rectangle 520">
            <a:extLst>
              <a:ext uri="{FF2B5EF4-FFF2-40B4-BE49-F238E27FC236}">
                <a16:creationId xmlns:a16="http://schemas.microsoft.com/office/drawing/2014/main" id="{0F73F0AC-B865-A901-C07F-4635AFCFB647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07988" y="2009775"/>
            <a:ext cx="11420475" cy="47942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" name="Rectangle 519">
            <a:extLst>
              <a:ext uri="{FF2B5EF4-FFF2-40B4-BE49-F238E27FC236}">
                <a16:creationId xmlns:a16="http://schemas.microsoft.com/office/drawing/2014/main" id="{D4A87746-DCEF-A217-27F9-769EB7A2C3A3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07988" y="3143250"/>
            <a:ext cx="11420475" cy="47942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C664307E-839D-44F1-799A-63AC6CA21556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07988" y="3622675"/>
            <a:ext cx="11420475" cy="4476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Rectangle 36">
            <a:extLst>
              <a:ext uri="{FF2B5EF4-FFF2-40B4-BE49-F238E27FC236}">
                <a16:creationId xmlns:a16="http://schemas.microsoft.com/office/drawing/2014/main" id="{8606F2D0-78CF-8D1E-BCE6-44067D150D5B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4200525" y="2009775"/>
            <a:ext cx="1951038" cy="32734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45" name="Rectangle 11">
            <a:extLst>
              <a:ext uri="{FF2B5EF4-FFF2-40B4-BE49-F238E27FC236}">
                <a16:creationId xmlns:a16="http://schemas.microsoft.com/office/drawing/2014/main" id="{E8711C10-76F1-E07F-8694-D8B299E824F5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2465388" y="1562100"/>
            <a:ext cx="3902075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9D0DF8D-A807-4744-A8FC-4E3906CD20CB}" type="datetime'''''Q''''1''''''''''''''''''''''''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Q1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356" name="Rectangle 11">
            <a:extLst>
              <a:ext uri="{FF2B5EF4-FFF2-40B4-BE49-F238E27FC236}">
                <a16:creationId xmlns:a16="http://schemas.microsoft.com/office/drawing/2014/main" id="{631A1A07-1A69-B27A-F81D-2A6A771CA433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6367463" y="1562100"/>
            <a:ext cx="3946525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BD0AF81-8528-4F72-927B-91206B78370A}" type="datetime'Q''''''''''''''''''''''''''''''2''''''''''''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Q2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84" name="Rectangle 9">
            <a:extLst>
              <a:ext uri="{FF2B5EF4-FFF2-40B4-BE49-F238E27FC236}">
                <a16:creationId xmlns:a16="http://schemas.microsoft.com/office/drawing/2014/main" id="{A7656CE0-1130-8889-B5C8-BD806CF6015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2465389" y="1785938"/>
            <a:ext cx="1344613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3A5289F-6401-4080-BB66-927E20DA50F5}" type="datetime'''''''''''''Jan''''''''''''''''''''''''''''''''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Jan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85" name="Rectangle 9">
            <a:extLst>
              <a:ext uri="{FF2B5EF4-FFF2-40B4-BE49-F238E27FC236}">
                <a16:creationId xmlns:a16="http://schemas.microsoft.com/office/drawing/2014/main" id="{FB4FBDE4-959D-8255-6B22-521B849B0B87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810000" y="1785938"/>
            <a:ext cx="1214438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DAB8DEA-F750-4CA1-9C2D-471EBFD6C678}" type="datetime'''''''F''''''e''''''''''b''''''''''''''''''''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Feb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86" name="Rectangle 9">
            <a:extLst>
              <a:ext uri="{FF2B5EF4-FFF2-40B4-BE49-F238E27FC236}">
                <a16:creationId xmlns:a16="http://schemas.microsoft.com/office/drawing/2014/main" id="{CC6FF29C-AADF-E367-9148-8220CB6A37E4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024438" y="1785938"/>
            <a:ext cx="1343025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5AC73B9-5A7F-47CB-B8FD-07896BF643D7}" type="datetime'M''''''''''''a''''r''''''''''''''''''''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Mar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349" name="Rectangle 9">
            <a:extLst>
              <a:ext uri="{FF2B5EF4-FFF2-40B4-BE49-F238E27FC236}">
                <a16:creationId xmlns:a16="http://schemas.microsoft.com/office/drawing/2014/main" id="{D592A907-67F8-25CD-4563-42D6274400E9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6367463" y="1785938"/>
            <a:ext cx="1301750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680E828-235C-43DD-9E1F-EDDD83646200}" type="datetime'''''''''''''A''''''''''p''''''''''''r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Apr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351" name="Rectangle 9">
            <a:extLst>
              <a:ext uri="{FF2B5EF4-FFF2-40B4-BE49-F238E27FC236}">
                <a16:creationId xmlns:a16="http://schemas.microsoft.com/office/drawing/2014/main" id="{6AACB95C-72B3-FE9D-EDB3-14BA7B17E48F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7669214" y="1785938"/>
            <a:ext cx="1344613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DB20E94-9BD9-49B7-8959-D5ABB8E15DE1}" type="datetime'''''''''M''''''''''''''ay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May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352" name="Rectangle 9">
            <a:extLst>
              <a:ext uri="{FF2B5EF4-FFF2-40B4-BE49-F238E27FC236}">
                <a16:creationId xmlns:a16="http://schemas.microsoft.com/office/drawing/2014/main" id="{19289B7B-7E8D-8FFD-87D1-A9479A7B773D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9013825" y="1785938"/>
            <a:ext cx="1300163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8490E68-B666-4EC9-9961-7D4B23F4B0F1}" type="datetime'''J''''''''''''u''''''''''''''''''''n''''''''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Jun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cxnSp>
        <p:nvCxnSpPr>
          <p:cNvPr id="17" name="Straight Connector 557">
            <a:extLst>
              <a:ext uri="{FF2B5EF4-FFF2-40B4-BE49-F238E27FC236}">
                <a16:creationId xmlns:a16="http://schemas.microsoft.com/office/drawing/2014/main" id="{5626C34C-D4AC-5F45-4018-24178812947D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>
            <a:off x="2465388" y="2009775"/>
            <a:ext cx="0" cy="32734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03">
            <a:extLst>
              <a:ext uri="{FF2B5EF4-FFF2-40B4-BE49-F238E27FC236}">
                <a16:creationId xmlns:a16="http://schemas.microsoft.com/office/drawing/2014/main" id="{5BDD3975-3569-3916-F309-BD1C3B359218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6367463" y="2009775"/>
            <a:ext cx="0" cy="32734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560">
            <a:extLst>
              <a:ext uri="{FF2B5EF4-FFF2-40B4-BE49-F238E27FC236}">
                <a16:creationId xmlns:a16="http://schemas.microsoft.com/office/drawing/2014/main" id="{2C0185DC-9817-E18B-0AD0-7F0D06BB5990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11828463" y="2009775"/>
            <a:ext cx="0" cy="32734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554">
            <a:extLst>
              <a:ext uri="{FF2B5EF4-FFF2-40B4-BE49-F238E27FC236}">
                <a16:creationId xmlns:a16="http://schemas.microsoft.com/office/drawing/2014/main" id="{47859571-102E-F6A7-F9FB-57558E1BF894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>
            <a:off x="407988" y="2009775"/>
            <a:ext cx="0" cy="32734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556">
            <a:extLst>
              <a:ext uri="{FF2B5EF4-FFF2-40B4-BE49-F238E27FC236}">
                <a16:creationId xmlns:a16="http://schemas.microsoft.com/office/drawing/2014/main" id="{E9BB353C-90B1-492A-92E8-ADB620D6ED66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>
            <a:off x="10313988" y="2009775"/>
            <a:ext cx="0" cy="32734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39">
            <a:extLst>
              <a:ext uri="{FF2B5EF4-FFF2-40B4-BE49-F238E27FC236}">
                <a16:creationId xmlns:a16="http://schemas.microsoft.com/office/drawing/2014/main" id="{D03210C8-9BC6-2331-6204-8D1B72765215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>
            <a:off x="9013825" y="2009775"/>
            <a:ext cx="0" cy="32734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875">
            <a:extLst>
              <a:ext uri="{FF2B5EF4-FFF2-40B4-BE49-F238E27FC236}">
                <a16:creationId xmlns:a16="http://schemas.microsoft.com/office/drawing/2014/main" id="{5FF21CF3-CF82-F23C-B09D-09FC341F02E8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5024438" y="2009775"/>
            <a:ext cx="0" cy="32734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874">
            <a:extLst>
              <a:ext uri="{FF2B5EF4-FFF2-40B4-BE49-F238E27FC236}">
                <a16:creationId xmlns:a16="http://schemas.microsoft.com/office/drawing/2014/main" id="{17924C53-F63E-B851-2182-5857A41C7E67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>
            <a:off x="3810000" y="2009775"/>
            <a:ext cx="0" cy="32734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876">
            <a:extLst>
              <a:ext uri="{FF2B5EF4-FFF2-40B4-BE49-F238E27FC236}">
                <a16:creationId xmlns:a16="http://schemas.microsoft.com/office/drawing/2014/main" id="{386858D6-19A7-C9BF-772B-A69213B136D1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>
            <a:off x="7669213" y="2009775"/>
            <a:ext cx="0" cy="32734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585">
            <a:extLst>
              <a:ext uri="{FF2B5EF4-FFF2-40B4-BE49-F238E27FC236}">
                <a16:creationId xmlns:a16="http://schemas.microsoft.com/office/drawing/2014/main" id="{92C509ED-87D3-AF8F-F07D-56923BAAA8BE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>
            <a:off x="407988" y="3622675"/>
            <a:ext cx="114204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583">
            <a:extLst>
              <a:ext uri="{FF2B5EF4-FFF2-40B4-BE49-F238E27FC236}">
                <a16:creationId xmlns:a16="http://schemas.microsoft.com/office/drawing/2014/main" id="{60D061BE-C624-4A10-FD3C-3624A6230DEA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>
            <a:off x="407988" y="4789488"/>
            <a:ext cx="11420475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584">
            <a:extLst>
              <a:ext uri="{FF2B5EF4-FFF2-40B4-BE49-F238E27FC236}">
                <a16:creationId xmlns:a16="http://schemas.microsoft.com/office/drawing/2014/main" id="{2B062E4B-099F-C50F-EE11-E08C18C654B2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auto">
          <a:xfrm>
            <a:off x="407988" y="3143250"/>
            <a:ext cx="11420475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41">
            <a:extLst>
              <a:ext uri="{FF2B5EF4-FFF2-40B4-BE49-F238E27FC236}">
                <a16:creationId xmlns:a16="http://schemas.microsoft.com/office/drawing/2014/main" id="{D41EE2B0-F271-AC3E-DE1E-E3ECE6EB1E73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gray">
          <a:xfrm>
            <a:off x="8535988" y="2009775"/>
            <a:ext cx="0" cy="3273425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587">
            <a:extLst>
              <a:ext uri="{FF2B5EF4-FFF2-40B4-BE49-F238E27FC236}">
                <a16:creationId xmlns:a16="http://schemas.microsoft.com/office/drawing/2014/main" id="{946F9D6C-FE6D-77FB-53DF-A264EB33B82F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>
            <a:off x="407988" y="5283200"/>
            <a:ext cx="11420475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588">
            <a:extLst>
              <a:ext uri="{FF2B5EF4-FFF2-40B4-BE49-F238E27FC236}">
                <a16:creationId xmlns:a16="http://schemas.microsoft.com/office/drawing/2014/main" id="{29ADB490-A38A-24D4-1070-CDF08518946A}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 bwMode="auto">
          <a:xfrm>
            <a:off x="407988" y="2009775"/>
            <a:ext cx="11420475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Arrow: Pentagon 14">
            <a:extLst>
              <a:ext uri="{FF2B5EF4-FFF2-40B4-BE49-F238E27FC236}">
                <a16:creationId xmlns:a16="http://schemas.microsoft.com/office/drawing/2014/main" id="{F94C0585-5AC9-FDA9-19CB-272BD40A2CC0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2474913" y="2101850"/>
            <a:ext cx="3025775" cy="265113"/>
          </a:xfrm>
          <a:prstGeom prst="homePlate">
            <a:avLst>
              <a:gd name="adj" fmla="val 17964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35" name="Arrow: Pentagon 22">
            <a:extLst>
              <a:ext uri="{FF2B5EF4-FFF2-40B4-BE49-F238E27FC236}">
                <a16:creationId xmlns:a16="http://schemas.microsoft.com/office/drawing/2014/main" id="{8E05EA35-16C4-E8E3-C5A3-4B54F637F02B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500688" y="3267075"/>
            <a:ext cx="1647825" cy="265113"/>
          </a:xfrm>
          <a:prstGeom prst="homePlate">
            <a:avLst>
              <a:gd name="adj" fmla="val 17964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33" name="Arrow: Pentagon 23">
            <a:extLst>
              <a:ext uri="{FF2B5EF4-FFF2-40B4-BE49-F238E27FC236}">
                <a16:creationId xmlns:a16="http://schemas.microsoft.com/office/drawing/2014/main" id="{1FD91534-3DCC-9F52-A845-DC8258B0EBE9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7148514" y="3714750"/>
            <a:ext cx="1387475" cy="265113"/>
          </a:xfrm>
          <a:prstGeom prst="homePlate">
            <a:avLst>
              <a:gd name="adj" fmla="val 17964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32" name="Arrow: Pentagon 25">
            <a:extLst>
              <a:ext uri="{FF2B5EF4-FFF2-40B4-BE49-F238E27FC236}">
                <a16:creationId xmlns:a16="http://schemas.microsoft.com/office/drawing/2014/main" id="{D44F220F-60DD-B175-E25E-62C8CE8E737C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4286250" y="4162426"/>
            <a:ext cx="2428875" cy="265113"/>
          </a:xfrm>
          <a:prstGeom prst="homePlate">
            <a:avLst>
              <a:gd name="adj" fmla="val 17964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610505B-B6C5-4282-8E6D-F8CF195A2785}" type="datetime'''1''2'' ''Fe''''''''''''''''''''''''''b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 Feb</a:t>
            </a:fld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- </a:t>
            </a:r>
            <a:fld id="{B5090F8A-9B40-4A00-A0FC-F61115786649}" type="datetime'''''''''''8'''''''' A''p''r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 Apr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36" name="Rectangle 15">
            <a:extLst>
              <a:ext uri="{FF2B5EF4-FFF2-40B4-BE49-F238E27FC236}">
                <a16:creationId xmlns:a16="http://schemas.microsoft.com/office/drawing/2014/main" id="{1D4B4807-FC39-375A-1B91-84E7119DAF74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2768600" y="2625725"/>
            <a:ext cx="1951038" cy="98425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9" name="Rectangle 18">
            <a:extLst>
              <a:ext uri="{FF2B5EF4-FFF2-40B4-BE49-F238E27FC236}">
                <a16:creationId xmlns:a16="http://schemas.microsoft.com/office/drawing/2014/main" id="{A6C5A912-05A1-4B31-0F6B-797655AAD43F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3983038" y="2895600"/>
            <a:ext cx="954088" cy="984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8" name="Rectangle 24">
            <a:extLst>
              <a:ext uri="{FF2B5EF4-FFF2-40B4-BE49-F238E27FC236}">
                <a16:creationId xmlns:a16="http://schemas.microsoft.com/office/drawing/2014/main" id="{BBF233D6-7763-ACA2-647A-D81625EA2ABF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7929564" y="4244975"/>
            <a:ext cx="606425" cy="984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7" name="Rectangle 26">
            <a:extLst>
              <a:ext uri="{FF2B5EF4-FFF2-40B4-BE49-F238E27FC236}">
                <a16:creationId xmlns:a16="http://schemas.microsoft.com/office/drawing/2014/main" id="{E7FCD90F-AE4D-A57D-42AA-4F1F4D65B36A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8232775" y="4510088"/>
            <a:ext cx="1820863" cy="984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0" name="Right Bracket 30">
            <a:extLst>
              <a:ext uri="{FF2B5EF4-FFF2-40B4-BE49-F238E27FC236}">
                <a16:creationId xmlns:a16="http://schemas.microsoft.com/office/drawing/2014/main" id="{3024EFE9-FAD6-582E-91FF-6888319CB362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 rot="5400000">
            <a:off x="5121275" y="4398963"/>
            <a:ext cx="107950" cy="1951038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1" name="Isosceles Triangle 32">
            <a:extLst>
              <a:ext uri="{FF2B5EF4-FFF2-40B4-BE49-F238E27FC236}">
                <a16:creationId xmlns:a16="http://schemas.microsoft.com/office/drawing/2014/main" id="{F4931033-B264-6D6A-97A2-BC5BCFA489D8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 rot="10800000">
            <a:off x="5068888" y="5427663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2" name="Isosceles Triangle 37">
            <a:extLst>
              <a:ext uri="{FF2B5EF4-FFF2-40B4-BE49-F238E27FC236}">
                <a16:creationId xmlns:a16="http://schemas.microsoft.com/office/drawing/2014/main" id="{F2AE13C4-DD84-A54B-9370-C5A77DBC07AB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8478838" y="4949825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3" name="Isosceles Triangle 21">
            <a:extLst>
              <a:ext uri="{FF2B5EF4-FFF2-40B4-BE49-F238E27FC236}">
                <a16:creationId xmlns:a16="http://schemas.microsoft.com/office/drawing/2014/main" id="{E7248EF9-49FF-9AA7-BDEC-4F68DBE2D94A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6657975" y="4949825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5" name="Isosceles Triangle 16">
            <a:extLst>
              <a:ext uri="{FF2B5EF4-FFF2-40B4-BE49-F238E27FC236}">
                <a16:creationId xmlns:a16="http://schemas.microsoft.com/office/drawing/2014/main" id="{5AD752BF-1CDA-3179-E231-FB1F597ED871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5443538" y="4949825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1" name="Oval 618">
            <a:extLst>
              <a:ext uri="{FF2B5EF4-FFF2-40B4-BE49-F238E27FC236}">
                <a16:creationId xmlns:a16="http://schemas.microsoft.com/office/drawing/2014/main" id="{CD5772A2-7E6D-FFB6-186B-1C35DB1DEDCD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11436350" y="4479925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0" name="Oval 617">
            <a:extLst>
              <a:ext uri="{FF2B5EF4-FFF2-40B4-BE49-F238E27FC236}">
                <a16:creationId xmlns:a16="http://schemas.microsoft.com/office/drawing/2014/main" id="{7831BF2E-7CDB-34F0-C726-706326A3EB99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11436350" y="4208463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Oval 611">
            <a:extLst>
              <a:ext uri="{FF2B5EF4-FFF2-40B4-BE49-F238E27FC236}">
                <a16:creationId xmlns:a16="http://schemas.microsoft.com/office/drawing/2014/main" id="{666D8618-79E3-7668-80B3-C4695A76AAB3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11436350" y="2865438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6" name="Oval 613">
            <a:extLst>
              <a:ext uri="{FF2B5EF4-FFF2-40B4-BE49-F238E27FC236}">
                <a16:creationId xmlns:a16="http://schemas.microsoft.com/office/drawing/2014/main" id="{293426AE-0499-C845-6F12-5741388F195D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11436350" y="3313113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9" name="Oval 610">
            <a:extLst>
              <a:ext uri="{FF2B5EF4-FFF2-40B4-BE49-F238E27FC236}">
                <a16:creationId xmlns:a16="http://schemas.microsoft.com/office/drawing/2014/main" id="{DA04D8F2-059F-57F5-5D3E-9A14A43763ED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11436350" y="2595563"/>
            <a:ext cx="158750" cy="15875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2" name="Oval 609">
            <a:extLst>
              <a:ext uri="{FF2B5EF4-FFF2-40B4-BE49-F238E27FC236}">
                <a16:creationId xmlns:a16="http://schemas.microsoft.com/office/drawing/2014/main" id="{DDA4A850-3DB9-CA75-173D-2EEB6A210B08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11436350" y="2147888"/>
            <a:ext cx="158750" cy="15875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8" name="Oval 616">
            <a:extLst>
              <a:ext uri="{FF2B5EF4-FFF2-40B4-BE49-F238E27FC236}">
                <a16:creationId xmlns:a16="http://schemas.microsoft.com/office/drawing/2014/main" id="{2EB1459B-F35B-A1A0-8646-21B51C75F6CC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11436350" y="3760788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7CDFC630-7429-F998-45E8-528BBF32C9F3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468312" y="4475163"/>
            <a:ext cx="19367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marR="0" lvl="2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ccounting / tax advisor</a:t>
            </a:r>
          </a:p>
        </p:txBody>
      </p:sp>
      <p:sp>
        <p:nvSpPr>
          <p:cNvPr id="73" name="Text Placeholder 7">
            <a:extLst>
              <a:ext uri="{FF2B5EF4-FFF2-40B4-BE49-F238E27FC236}">
                <a16:creationId xmlns:a16="http://schemas.microsoft.com/office/drawing/2014/main" id="{615D9155-FE57-00BE-030F-666C87972126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10374313" y="4475163"/>
            <a:ext cx="8302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Jamie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Doe </a:t>
            </a:r>
          </a:p>
        </p:txBody>
      </p:sp>
      <p:sp>
        <p:nvSpPr>
          <p:cNvPr id="77" name="Arc 639">
            <a:extLst>
              <a:ext uri="{FF2B5EF4-FFF2-40B4-BE49-F238E27FC236}">
                <a16:creationId xmlns:a16="http://schemas.microsoft.com/office/drawing/2014/main" id="{E224E498-C489-5E99-BD99-37C0F64B63FC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11436350" y="4479925"/>
            <a:ext cx="158749" cy="15874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2" name="Rectangle 12">
            <a:extLst>
              <a:ext uri="{FF2B5EF4-FFF2-40B4-BE49-F238E27FC236}">
                <a16:creationId xmlns:a16="http://schemas.microsoft.com/office/drawing/2014/main" id="{38843D5C-54A7-2A69-CCA0-2EC9BC61CB1D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5364163" y="5086350"/>
            <a:ext cx="274638" cy="182563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SC1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 useBgFill="1">
        <p:nvSpPr>
          <p:cNvPr id="70" name="Rectangle 17">
            <a:extLst>
              <a:ext uri="{FF2B5EF4-FFF2-40B4-BE49-F238E27FC236}">
                <a16:creationId xmlns:a16="http://schemas.microsoft.com/office/drawing/2014/main" id="{BC214BB1-A97B-0D36-7C7E-E9E98E2320DD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6562724" y="5086350"/>
            <a:ext cx="306388" cy="182563"/>
          </a:xfrm>
          <a:prstGeom prst="rect">
            <a:avLst/>
          </a:pr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SC2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 useBgFill="1">
        <p:nvSpPr>
          <p:cNvPr id="71" name="Rectangle 35">
            <a:extLst>
              <a:ext uri="{FF2B5EF4-FFF2-40B4-BE49-F238E27FC236}">
                <a16:creationId xmlns:a16="http://schemas.microsoft.com/office/drawing/2014/main" id="{3741CEDF-6D90-D6A5-5D16-4B0A1728F482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115300" y="5086350"/>
            <a:ext cx="842963" cy="182563"/>
          </a:xfrm>
          <a:prstGeom prst="rect">
            <a:avLst/>
          </a:pr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Project end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4FC56D0B-9C25-817F-0DC9-A4EAE1E7FDCA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10374313" y="3756025"/>
            <a:ext cx="8302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Jamie Doe 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CACA2779-68DD-A8D7-E04E-4FF6702AECE4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468313" y="3756025"/>
            <a:ext cx="10128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Due diligence</a:t>
            </a:r>
          </a:p>
        </p:txBody>
      </p:sp>
      <p:sp>
        <p:nvSpPr>
          <p:cNvPr id="54" name="Arc 654">
            <a:extLst>
              <a:ext uri="{FF2B5EF4-FFF2-40B4-BE49-F238E27FC236}">
                <a16:creationId xmlns:a16="http://schemas.microsoft.com/office/drawing/2014/main" id="{8CBC9532-EAEA-2577-DF36-CF555A629F27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11436350" y="3313113"/>
            <a:ext cx="158749" cy="15874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8" name="Text Placeholder 6">
            <a:extLst>
              <a:ext uri="{FF2B5EF4-FFF2-40B4-BE49-F238E27FC236}">
                <a16:creationId xmlns:a16="http://schemas.microsoft.com/office/drawing/2014/main" id="{0F445393-9817-B327-EC8F-3EA7EC5420BE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468313" y="1806575"/>
            <a:ext cx="10636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项目阶段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9F8E5FB1-F514-1100-8583-06C810D2495B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10374313" y="1806575"/>
            <a:ext cx="3889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Lead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5BCA937E-BA18-6770-5B49-58EC563810D3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11264900" y="1824038"/>
            <a:ext cx="503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019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t>Statu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D4C21029-5B40-8B8D-62EB-0FD233390DD5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10374313" y="3308350"/>
            <a:ext cx="8191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Sarah Doe </a:t>
            </a:r>
          </a:p>
        </p:txBody>
      </p:sp>
      <p:sp>
        <p:nvSpPr>
          <p:cNvPr id="76" name="Text Placeholder 5">
            <a:extLst>
              <a:ext uri="{FF2B5EF4-FFF2-40B4-BE49-F238E27FC236}">
                <a16:creationId xmlns:a16="http://schemas.microsoft.com/office/drawing/2014/main" id="{41F5B62A-6519-AADA-8E06-F15FBFEC6558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468313" y="3308350"/>
            <a:ext cx="7413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Marketing</a:t>
            </a:r>
          </a:p>
        </p:txBody>
      </p:sp>
      <p:sp>
        <p:nvSpPr>
          <p:cNvPr id="75" name="Rectangle 27">
            <a:extLst>
              <a:ext uri="{FF2B5EF4-FFF2-40B4-BE49-F238E27FC236}">
                <a16:creationId xmlns:a16="http://schemas.microsoft.com/office/drawing/2014/main" id="{8D3D756C-6012-60D8-0869-5E372B114F08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4703763" y="5553075"/>
            <a:ext cx="944563" cy="3651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Business tri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Singapore</a:t>
            </a:r>
          </a:p>
        </p:txBody>
      </p:sp>
      <p:sp>
        <p:nvSpPr>
          <p:cNvPr id="68" name="Text Placeholder 7">
            <a:extLst>
              <a:ext uri="{FF2B5EF4-FFF2-40B4-BE49-F238E27FC236}">
                <a16:creationId xmlns:a16="http://schemas.microsoft.com/office/drawing/2014/main" id="{841E7FBF-137B-8B31-8966-07FF1A6225A0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10374313" y="2860675"/>
            <a:ext cx="7112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Paul Doe </a:t>
            </a:r>
          </a:p>
        </p:txBody>
      </p:sp>
      <p:sp>
        <p:nvSpPr>
          <p:cNvPr id="62" name="Text Placeholder 5">
            <a:extLst>
              <a:ext uri="{FF2B5EF4-FFF2-40B4-BE49-F238E27FC236}">
                <a16:creationId xmlns:a16="http://schemas.microsoft.com/office/drawing/2014/main" id="{86121534-39C5-3EB9-6C40-16E991ED6914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468313" y="4203700"/>
            <a:ext cx="11493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marR="0" lvl="2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Legal advisor</a:t>
            </a:r>
          </a:p>
        </p:txBody>
      </p:sp>
      <p:sp>
        <p:nvSpPr>
          <p:cNvPr id="66" name="Text Placeholder 5">
            <a:extLst>
              <a:ext uri="{FF2B5EF4-FFF2-40B4-BE49-F238E27FC236}">
                <a16:creationId xmlns:a16="http://schemas.microsoft.com/office/drawing/2014/main" id="{7D122CE3-A387-5A14-47AA-213EFAFBD6EA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468313" y="2860675"/>
            <a:ext cx="11493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marR="0" lvl="2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Legal advisor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DB130CD9-E0A5-49F1-C415-9C7799FE74C9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10374313" y="4203700"/>
            <a:ext cx="7112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Paul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Doe 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2061C6F0-1575-ADD9-62B9-F45DCB30A3FE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10374312" y="2590800"/>
            <a:ext cx="774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Peter Doe </a:t>
            </a:r>
          </a:p>
        </p:txBody>
      </p:sp>
      <p:sp>
        <p:nvSpPr>
          <p:cNvPr id="67" name="Text Placeholder 5">
            <a:extLst>
              <a:ext uri="{FF2B5EF4-FFF2-40B4-BE49-F238E27FC236}">
                <a16:creationId xmlns:a16="http://schemas.microsoft.com/office/drawing/2014/main" id="{7D7E9E56-FD34-6DCB-F0BF-5FFC58B4BE4C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468312" y="2590800"/>
            <a:ext cx="14049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marR="0" lvl="2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Strategic advisor</a:t>
            </a:r>
          </a:p>
        </p:txBody>
      </p:sp>
      <p:sp>
        <p:nvSpPr>
          <p:cNvPr id="60" name="Arc 663">
            <a:extLst>
              <a:ext uri="{FF2B5EF4-FFF2-40B4-BE49-F238E27FC236}">
                <a16:creationId xmlns:a16="http://schemas.microsoft.com/office/drawing/2014/main" id="{8442C5C4-0C1E-26E9-E8C2-6929CF97C37F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11436350" y="4208463"/>
            <a:ext cx="158749" cy="15874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00585A57-EBAE-A736-5E73-28DDF8A403A0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10374313" y="2143125"/>
            <a:ext cx="7889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Jamie Doe</a:t>
            </a:r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91628432-7190-4147-7CCB-692240591335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468313" y="2143125"/>
            <a:ext cx="8683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Preparation</a:t>
            </a:r>
          </a:p>
        </p:txBody>
      </p:sp>
      <p:sp>
        <p:nvSpPr>
          <p:cNvPr id="58" name="Arc 660">
            <a:extLst>
              <a:ext uri="{FF2B5EF4-FFF2-40B4-BE49-F238E27FC236}">
                <a16:creationId xmlns:a16="http://schemas.microsoft.com/office/drawing/2014/main" id="{0BCB307D-89DF-C0F5-A462-0E1E94EB4B03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11436350" y="3760788"/>
            <a:ext cx="158749" cy="15874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9" name="Text Placeholder 5">
            <a:extLst>
              <a:ext uri="{FF2B5EF4-FFF2-40B4-BE49-F238E27FC236}">
                <a16:creationId xmlns:a16="http://schemas.microsoft.com/office/drawing/2014/main" id="{15A9AAA2-239E-3571-0A65-57FB33A68C54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468313" y="4922838"/>
            <a:ext cx="1090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Decision gates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6EF5120C-5130-2869-96F5-23B26F136D8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59901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hink-cell, chart, charts, graph, graphs, project, projects, plan, planning</a:t>
            </a:r>
          </a:p>
        </p:txBody>
      </p:sp>
      <p:sp>
        <p:nvSpPr>
          <p:cNvPr id="7" name="Rectangle 18">
            <a:extLst>
              <a:ext uri="{FF2B5EF4-FFF2-40B4-BE49-F238E27FC236}">
                <a16:creationId xmlns:a16="http://schemas.microsoft.com/office/drawing/2014/main" id="{0BD3EDE0-E195-8C62-49C1-9583130BEDFE}"/>
              </a:ext>
            </a:extLst>
          </p:cNvPr>
          <p:cNvSpPr>
            <a:spLocks/>
          </p:cNvSpPr>
          <p:nvPr/>
        </p:nvSpPr>
        <p:spPr>
          <a:xfrm>
            <a:off x="8811107" y="-621328"/>
            <a:ext cx="4575600" cy="11806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Gantt chart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  <a:endParaRPr kumimoji="0" lang="en-US" sz="1200" b="0" i="0" u="sng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6995" marR="0" lvl="0" indent="-8699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open the calenda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 the calendar scale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6995" marR="0" lvl="0" indent="-8699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add timeline item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, right-click the body of the chart to open the context menu.</a:t>
            </a:r>
          </a:p>
          <a:p>
            <a:pPr marL="86995" marR="0" lvl="0" indent="-8699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emark label column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r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esponsible label column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right-click the chart's first column to open the context menu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6B9FAA23-A33B-4A0D-9A1B-A6E0F300B783}"/>
              </a:ext>
            </a:extLst>
          </p:cNvPr>
          <p:cNvSpPr txBox="1"/>
          <p:nvPr/>
        </p:nvSpPr>
        <p:spPr>
          <a:xfrm>
            <a:off x="5638801" y="559371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>
                <a:solidFill>
                  <a:srgbClr val="575757"/>
                </a:solidFill>
              </a:rPr>
              <a:t>请手动填充图表内数据</a:t>
            </a:r>
            <a:endParaRPr lang="zh-CN" altLang="en-US" dirty="0" err="1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4305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HTY3gzbrlJfbNcvnzea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q4BGh9LWX0Znc84PPD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VDSrQhn36mB9KIKbfw.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hm_RPIMiR_DvSvZIex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OnMRs.ObfNstjDlImy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fLJ4uGy1fGGONbARUT0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EK3l1k0AL9dm4Ib83pv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YUDaYqOwuokRKe8zOyQ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IaZ52rQux6j3j7W13XS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7ygfeIUj0ylEGumv9T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hGjIVh5RF4GoadRBqoI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eNe2h3PoKi3Xy1.KyQf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gfkbbnFAPHjQf0gNl.P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HLojOHse2trIZKq26M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x75Vw6Ue0n7_TZJL4i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YvrYF07sE7M4YYQ5_4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QD_2t5TAtQvdh1qV1gL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kW3cnb3QOgzk78X08p9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igC4zCiFcrKu77.1b74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yXfV2IZd.1UUJtokDM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8A0q8U7IsyNzHjS7us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NUmzlknn5MEZ52gwPMJ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qQtKqpDD9GpHqeCNgG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dglSRquapcPs1fLcPf2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c05CYnrhpw_pWA_ejll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D5FdtShhetaBWDMBgYc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yrzP1N_C9NYdwxwP.Kf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5oz8f_C1gdtaMkfauAl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IfszxG8JiJvE8mpsKy7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4HQRwf_jm5JFCa_7Kb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YlsZmZ8jCZeRPfy3O3F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FUKnnAk.ueft09J0oSc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y8hE1iqEDbn7Zqg_PGp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g8Mk2vObBBhoXNlQSSG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.NsNJxuWj92cvXhV7mD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CsTRnwldItoZ6iYBuGC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.t7tyitQKne44Hc5wh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m1QY0b.nIsNF0QnvzBf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mDeBTXi1Ys0RHTKy8TD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gioE3I14tfOjF1rkdb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.sq02ivB0rmsnsu4alM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56O90s6.W_KQlmWgvh0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7euPpQ8LrIKRar6IvPD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SWz6TnC.t12XvFqmkLg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k_LmqSsKl8yNaETbOGv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r_df4YM8Xe7.7re.fYt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01qNi7AXB_Ga52gDmiO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zBjgyngiTExskqAwFeo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49B7LsyfOynxJJsvfxc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2ATS_ZhQvL4yQuG77i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6KxfvmdoAq5yTEWn8qp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pxyFiRfvkhjJMYS5KYR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mIsE1GMKcxSLUbzZTXC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HNkf4JLJ4UPXBRZ_IX5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GBFOke0PGMqJ0i3G3yf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L59SZiJvcmQho_gKYOE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UeL3VjUqQbHxj4squ1h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L3HesKEO7OxIlIZD5.f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t60UJ9l.siJxW9zJcik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aXgPCYtTnGXQDIZSCPQ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FsZ6L1WwXe.g6.beK3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n5QpeKqj7wRPaS.BNlC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UDO1YNz1F2bBKLgQeWF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U2ca.Vohg6sYbHlUok1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FtgHT_0lA0Wux0DotSw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4yicMHzBs33vnSJjUpt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02TfPyUcAoTQiXafuoR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VOydJ9YkgZFUQxVizwF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A2wd_5Q1zqA7uxIaSsg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uugimoK6UFESS905zlx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QafmmC_AfMsn26GWh5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xZmPQpbfOCKYHd2.oY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9AqV6GahnayncCsNdomQ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37</Words>
  <Application>Microsoft Office PowerPoint</Application>
  <PresentationFormat>宽屏</PresentationFormat>
  <Paragraphs>39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10T07:21:49Z</dcterms:created>
  <dcterms:modified xsi:type="dcterms:W3CDTF">2025-09-10T07:23:36Z</dcterms:modified>
</cp:coreProperties>
</file>